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6130D0-A545-4215-AECB-F4EA0E0C1311}" v="26" dt="2023-01-31T22:27:59.3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906130D0-A545-4215-AECB-F4EA0E0C1311}"/>
    <pc:docChg chg="custSel addSld delSld modSld">
      <pc:chgData name="Roberto Gallardo" userId="49a044883f185952" providerId="LiveId" clId="{906130D0-A545-4215-AECB-F4EA0E0C1311}" dt="2023-02-23T01:01:16.520" v="501" actId="27918"/>
      <pc:docMkLst>
        <pc:docMk/>
      </pc:docMkLst>
      <pc:sldChg chg="modSp mod">
        <pc:chgData name="Roberto Gallardo" userId="49a044883f185952" providerId="LiveId" clId="{906130D0-A545-4215-AECB-F4EA0E0C1311}" dt="2023-01-31T21:59:37.426" v="473" actId="20577"/>
        <pc:sldMkLst>
          <pc:docMk/>
          <pc:sldMk cId="2846901679" sldId="256"/>
        </pc:sldMkLst>
        <pc:spChg chg="mod">
          <ac:chgData name="Roberto Gallardo" userId="49a044883f185952" providerId="LiveId" clId="{906130D0-A545-4215-AECB-F4EA0E0C1311}" dt="2023-01-31T21:59:37.426" v="473" actId="20577"/>
          <ac:spMkLst>
            <pc:docMk/>
            <pc:sldMk cId="2846901679" sldId="256"/>
            <ac:spMk id="7" creationId="{B1E0ABEC-554C-720A-2772-F0324C8E93CA}"/>
          </ac:spMkLst>
        </pc:spChg>
      </pc:sldChg>
      <pc:sldChg chg="mod">
        <pc:chgData name="Roberto Gallardo" userId="49a044883f185952" providerId="LiveId" clId="{906130D0-A545-4215-AECB-F4EA0E0C1311}" dt="2023-02-23T01:01:16.520" v="501" actId="27918"/>
        <pc:sldMkLst>
          <pc:docMk/>
          <pc:sldMk cId="3231157596" sldId="257"/>
        </pc:sldMkLst>
      </pc:sldChg>
      <pc:sldChg chg="mod">
        <pc:chgData name="Roberto Gallardo" userId="49a044883f185952" providerId="LiveId" clId="{906130D0-A545-4215-AECB-F4EA0E0C1311}" dt="2023-02-23T01:00:34.562" v="489" actId="27918"/>
        <pc:sldMkLst>
          <pc:docMk/>
          <pc:sldMk cId="3702837515" sldId="258"/>
        </pc:sldMkLst>
      </pc:sldChg>
      <pc:sldChg chg="mod">
        <pc:chgData name="Roberto Gallardo" userId="49a044883f185952" providerId="LiveId" clId="{906130D0-A545-4215-AECB-F4EA0E0C1311}" dt="2023-02-23T01:00:55.938" v="495"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31T22:27:59.382" v="483" actId="20577"/>
        <pc:sldMkLst>
          <pc:docMk/>
          <pc:sldMk cId="513409896" sldId="276"/>
        </pc:sldMkLst>
        <pc:spChg chg="mod">
          <ac:chgData name="Roberto Gallardo" userId="49a044883f185952" providerId="LiveId" clId="{906130D0-A545-4215-AECB-F4EA0E0C1311}" dt="2023-01-31T22:27:47.547" v="482" actId="1035"/>
          <ac:spMkLst>
            <pc:docMk/>
            <pc:sldMk cId="513409896" sldId="276"/>
            <ac:spMk id="3" creationId="{AADBAC77-8094-925B-9C83-2132E5A4A84C}"/>
          </ac:spMkLst>
        </pc:spChg>
        <pc:spChg chg="mod">
          <ac:chgData name="Roberto Gallardo" userId="49a044883f185952" providerId="LiveId" clId="{906130D0-A545-4215-AECB-F4EA0E0C1311}" dt="2023-01-31T22:27:47.547" v="482" actId="1035"/>
          <ac:spMkLst>
            <pc:docMk/>
            <pc:sldMk cId="513409896" sldId="276"/>
            <ac:spMk id="5" creationId="{EA0F984F-F15C-B54F-E4CE-75954416187D}"/>
          </ac:spMkLst>
        </pc:spChg>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graphicFrameChg chg="mod">
          <ac:chgData name="Roberto Gallardo" userId="49a044883f185952" providerId="LiveId" clId="{906130D0-A545-4215-AECB-F4EA0E0C1311}" dt="2023-01-31T22:27:59.382" v="483" actId="20577"/>
          <ac:graphicFrameMkLst>
            <pc:docMk/>
            <pc:sldMk cId="513409896" sldId="276"/>
            <ac:graphicFrameMk id="10" creationId="{FD2FC231-ACEF-5FF2-C4CE-DFF89EB85588}"/>
          </ac:graphicFrameMkLst>
        </pc:graphicFrame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31T22:17:12.434" v="476" actId="27918"/>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8T00:30:39.119" v="460"/>
        <pc:sldMkLst>
          <pc:docMk/>
          <pc:sldMk cId="3324519687" sldId="293"/>
        </pc:sldMkLst>
        <pc:spChg chg="del">
          <ac:chgData name="Roberto Gallardo" userId="49a044883f185952" providerId="LiveId" clId="{906130D0-A545-4215-AECB-F4EA0E0C1311}" dt="2023-01-18T00:30:38.836" v="459" actId="478"/>
          <ac:spMkLst>
            <pc:docMk/>
            <pc:sldMk cId="3324519687" sldId="293"/>
            <ac:spMk id="3" creationId="{AF651823-818E-912D-E331-CDEB914505A8}"/>
          </ac:spMkLst>
        </pc:spChg>
        <pc:spChg chg="add mod">
          <ac:chgData name="Roberto Gallardo" userId="49a044883f185952" providerId="LiveId" clId="{906130D0-A545-4215-AECB-F4EA0E0C1311}" dt="2023-01-18T00:30:39.119" v="460"/>
          <ac:spMkLst>
            <pc:docMk/>
            <pc:sldMk cId="3324519687" sldId="293"/>
            <ac:spMk id="5" creationId="{6BE4F685-E9DC-E231-5AF4-296D3C11476B}"/>
          </ac:spMkLst>
        </pc:spChg>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sldChg chg="del">
        <pc:chgData name="Roberto Gallardo" userId="49a044883f185952" providerId="LiveId" clId="{906130D0-A545-4215-AECB-F4EA0E0C1311}" dt="2023-01-17T23:31:56.286" v="430" actId="47"/>
        <pc:sldMkLst>
          <pc:docMk/>
          <pc:sldMk cId="230398305" sldId="301"/>
        </pc:sldMkLst>
      </pc:sldChg>
      <pc:sldChg chg="add">
        <pc:chgData name="Roberto Gallardo" userId="49a044883f185952" providerId="LiveId" clId="{906130D0-A545-4215-AECB-F4EA0E0C1311}" dt="2023-01-17T23:31:54.540" v="429"/>
        <pc:sldMkLst>
          <pc:docMk/>
          <pc:sldMk cId="1515423683" sldId="302"/>
        </pc:sldMkLst>
      </pc:sldChg>
      <pc:sldChg chg="add del">
        <pc:chgData name="Roberto Gallardo" userId="49a044883f185952" providerId="LiveId" clId="{906130D0-A545-4215-AECB-F4EA0E0C1311}" dt="2023-01-17T23:36:08.244" v="433" actId="47"/>
        <pc:sldMkLst>
          <pc:docMk/>
          <pc:sldMk cId="1735900212" sldId="303"/>
        </pc:sldMkLst>
      </pc:sldChg>
      <pc:sldChg chg="add mod">
        <pc:chgData name="Roberto Gallardo" userId="49a044883f185952" providerId="LiveId" clId="{906130D0-A545-4215-AECB-F4EA0E0C1311}" dt="2023-01-18T00:16:58.820" v="444" actId="27918"/>
        <pc:sldMkLst>
          <pc:docMk/>
          <pc:sldMk cId="2841628872" sldId="303"/>
        </pc:sldMkLst>
      </pc:sldChg>
      <pc:sldChg chg="add del">
        <pc:chgData name="Roberto Gallardo" userId="49a044883f185952" providerId="LiveId" clId="{906130D0-A545-4215-AECB-F4EA0E0C1311}" dt="2023-01-17T23:36:08.244" v="433" actId="47"/>
        <pc:sldMkLst>
          <pc:docMk/>
          <pc:sldMk cId="2841628872" sldId="304"/>
        </pc:sldMkLst>
      </pc:sldChg>
      <pc:sldChg chg="add mod">
        <pc:chgData name="Roberto Gallardo" userId="49a044883f185952" providerId="LiveId" clId="{906130D0-A545-4215-AECB-F4EA0E0C1311}" dt="2023-01-18T00:17:25.515" v="451" actId="27918"/>
        <pc:sldMkLst>
          <pc:docMk/>
          <pc:sldMk cId="3084076302" sldId="304"/>
        </pc:sldMkLst>
      </pc:sldChg>
      <pc:sldChg chg="add mod">
        <pc:chgData name="Roberto Gallardo" userId="49a044883f185952" providerId="LiveId" clId="{906130D0-A545-4215-AECB-F4EA0E0C1311}" dt="2023-01-18T00:18:26.144" v="458" actId="27918"/>
        <pc:sldMkLst>
          <pc:docMk/>
          <pc:sldMk cId="473712435" sldId="305"/>
        </pc:sldMkLst>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Mid-East</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187008684670504</c:v>
                </c:pt>
                <c:pt idx="2">
                  <c:v>1.0302911057626312</c:v>
                </c:pt>
                <c:pt idx="3">
                  <c:v>1.0468230944515113</c:v>
                </c:pt>
                <c:pt idx="4">
                  <c:v>1.0638767124541286</c:v>
                </c:pt>
                <c:pt idx="5">
                  <c:v>1.0778600386188719</c:v>
                </c:pt>
                <c:pt idx="6">
                  <c:v>1.0873637586595042</c:v>
                </c:pt>
                <c:pt idx="7">
                  <c:v>1.1014385987389383</c:v>
                </c:pt>
                <c:pt idx="8">
                  <c:v>1.1129739276857047</c:v>
                </c:pt>
                <c:pt idx="9">
                  <c:v>1.124065414146221</c:v>
                </c:pt>
                <c:pt idx="10">
                  <c:v>1.1295882788978064</c:v>
                </c:pt>
                <c:pt idx="11">
                  <c:v>1.1354360180465439</c:v>
                </c:pt>
                <c:pt idx="12">
                  <c:v>1.1444455629478463</c:v>
                </c:pt>
                <c:pt idx="13">
                  <c:v>1.1501972124861586</c:v>
                </c:pt>
                <c:pt idx="14">
                  <c:v>1.1583785564595097</c:v>
                </c:pt>
                <c:pt idx="15">
                  <c:v>1.1690719573911212</c:v>
                </c:pt>
                <c:pt idx="16">
                  <c:v>1.187997034949164</c:v>
                </c:pt>
                <c:pt idx="17">
                  <c:v>1.206967869464552</c:v>
                </c:pt>
                <c:pt idx="18">
                  <c:v>1.2263825464661902</c:v>
                </c:pt>
                <c:pt idx="19">
                  <c:v>1.2378126344110623</c:v>
                </c:pt>
                <c:pt idx="20">
                  <c:v>1.3141398149588646</c:v>
                </c:pt>
                <c:pt idx="21">
                  <c:v>1.3188436301739679</c:v>
                </c:pt>
                <c:pt idx="22">
                  <c:v>1.3239775607881179</c:v>
                </c:pt>
                <c:pt idx="23">
                  <c:v>1.3283244717359275</c:v>
                </c:pt>
                <c:pt idx="24">
                  <c:v>1.329907662460077</c:v>
                </c:pt>
                <c:pt idx="25">
                  <c:v>1.3327034125538788</c:v>
                </c:pt>
                <c:pt idx="26">
                  <c:v>1.3328727132960567</c:v>
                </c:pt>
                <c:pt idx="27">
                  <c:v>1.3342225435377448</c:v>
                </c:pt>
                <c:pt idx="28">
                  <c:v>1.3373614708116368</c:v>
                </c:pt>
                <c:pt idx="29">
                  <c:v>1.3397637110722684</c:v>
                </c:pt>
                <c:pt idx="30">
                  <c:v>1.264900753159518</c:v>
                </c:pt>
                <c:pt idx="31">
                  <c:v>1.2682638895244023</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84.436364490757327</c:v>
                </c:pt>
                <c:pt idx="1">
                  <c:v>11.152466978348691</c:v>
                </c:pt>
                <c:pt idx="2">
                  <c:v>11.894576387864483</c:v>
                </c:pt>
                <c:pt idx="3">
                  <c:v>13.778298204527712</c:v>
                </c:pt>
                <c:pt idx="4">
                  <c:v>10.436262653408582</c:v>
                </c:pt>
                <c:pt idx="5">
                  <c:v>56.6</c:v>
                </c:pt>
                <c:pt idx="6">
                  <c:v>50.9</c:v>
                </c:pt>
                <c:pt idx="7">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0.41705092133009874</c:v>
                </c:pt>
                <c:pt idx="1">
                  <c:v>0</c:v>
                </c:pt>
                <c:pt idx="2">
                  <c:v>2.6011702807690416</c:v>
                </c:pt>
                <c:pt idx="3">
                  <c:v>3.7638006022080965</c:v>
                </c:pt>
                <c:pt idx="4">
                  <c:v>1.3034130610051062</c:v>
                </c:pt>
                <c:pt idx="5">
                  <c:v>0.9</c:v>
                </c:pt>
                <c:pt idx="6">
                  <c:v>18</c:v>
                </c:pt>
                <c:pt idx="7">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30.733715923709049</c:v>
                </c:pt>
                <c:pt idx="1">
                  <c:v>68.807589305977942</c:v>
                </c:pt>
                <c:pt idx="2">
                  <c:v>67.719933184855236</c:v>
                </c:pt>
                <c:pt idx="3">
                  <c:v>85.775621724099466</c:v>
                </c:pt>
                <c:pt idx="4">
                  <c:v>67.719251097375249</c:v>
                </c:pt>
                <c:pt idx="5">
                  <c:v>46.2</c:v>
                </c:pt>
                <c:pt idx="6">
                  <c:v>40.700000000000003</c:v>
                </c:pt>
                <c:pt idx="7">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14.388608230671512</c:v>
                </c:pt>
                <c:pt idx="1">
                  <c:v>20.805247681520019</c:v>
                </c:pt>
                <c:pt idx="2">
                  <c:v>21.439280359820089</c:v>
                </c:pt>
                <c:pt idx="3">
                  <c:v>23.795359904818561</c:v>
                </c:pt>
                <c:pt idx="4">
                  <c:v>17.235498709749802</c:v>
                </c:pt>
                <c:pt idx="5">
                  <c:v>16.5</c:v>
                </c:pt>
                <c:pt idx="6">
                  <c:v>13.2</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7.8390243171568548</c:v>
                </c:pt>
                <c:pt idx="1">
                  <c:v>7.1424522419363976</c:v>
                </c:pt>
                <c:pt idx="2">
                  <c:v>7.098436887220573</c:v>
                </c:pt>
                <c:pt idx="3">
                  <c:v>6.9956652217405795</c:v>
                </c:pt>
                <c:pt idx="4">
                  <c:v>8.265544907510586</c:v>
                </c:pt>
                <c:pt idx="5">
                  <c:v>7.7</c:v>
                </c:pt>
                <c:pt idx="6">
                  <c:v>8</c:v>
                </c:pt>
                <c:pt idx="7">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46.590855803048072</c:v>
                </c:pt>
                <c:pt idx="1">
                  <c:v>48.480619457074681</c:v>
                </c:pt>
                <c:pt idx="2">
                  <c:v>67.369377555656513</c:v>
                </c:pt>
                <c:pt idx="3">
                  <c:v>65.882352941176464</c:v>
                </c:pt>
                <c:pt idx="4">
                  <c:v>34.611786716557532</c:v>
                </c:pt>
                <c:pt idx="5">
                  <c:v>47.7</c:v>
                </c:pt>
                <c:pt idx="6">
                  <c:v>37.9</c:v>
                </c:pt>
                <c:pt idx="7">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20.682489135550437</c:v>
                </c:pt>
                <c:pt idx="1">
                  <c:v>19.769673704414586</c:v>
                </c:pt>
                <c:pt idx="2">
                  <c:v>20.797735200444873</c:v>
                </c:pt>
                <c:pt idx="3">
                  <c:v>24.046483909415972</c:v>
                </c:pt>
                <c:pt idx="4">
                  <c:v>18.698123421147599</c:v>
                </c:pt>
                <c:pt idx="5">
                  <c:v>20.5</c:v>
                </c:pt>
                <c:pt idx="6">
                  <c:v>13.7</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32.915342874012424</c:v>
                </c:pt>
                <c:pt idx="1">
                  <c:v>52.720794644785144</c:v>
                </c:pt>
                <c:pt idx="2">
                  <c:v>52.832706538881482</c:v>
                </c:pt>
                <c:pt idx="3">
                  <c:v>55.342237061769616</c:v>
                </c:pt>
                <c:pt idx="4">
                  <c:v>51.472092147047746</c:v>
                </c:pt>
                <c:pt idx="5">
                  <c:v>40.4</c:v>
                </c:pt>
                <c:pt idx="6">
                  <c:v>39.700000000000003</c:v>
                </c:pt>
                <c:pt idx="7">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29.506043523490877</c:v>
                </c:pt>
                <c:pt idx="1">
                  <c:v>26.799708486288061</c:v>
                </c:pt>
                <c:pt idx="2">
                  <c:v>23.922491811233776</c:v>
                </c:pt>
                <c:pt idx="3">
                  <c:v>23.034223706176959</c:v>
                </c:pt>
                <c:pt idx="4">
                  <c:v>25.371661553366703</c:v>
                </c:pt>
                <c:pt idx="5">
                  <c:v>27.8</c:v>
                </c:pt>
                <c:pt idx="6">
                  <c:v>30</c:v>
                </c:pt>
                <c:pt idx="7">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7.7909297944724036</c:v>
                </c:pt>
                <c:pt idx="1">
                  <c:v>6.0138199093068456</c:v>
                </c:pt>
                <c:pt idx="2">
                  <c:v>2.8872983137207329</c:v>
                </c:pt>
                <c:pt idx="3">
                  <c:v>2.0450751252086814</c:v>
                </c:pt>
                <c:pt idx="4">
                  <c:v>7.4438882609397714</c:v>
                </c:pt>
                <c:pt idx="5">
                  <c:v>6.9</c:v>
                </c:pt>
                <c:pt idx="6">
                  <c:v>12</c:v>
                </c:pt>
                <c:pt idx="7">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B$2:$B$4</c:f>
              <c:numCache>
                <c:formatCode>#,##0.0</c:formatCode>
                <c:ptCount val="3"/>
                <c:pt idx="0">
                  <c:v>52.290642344488994</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C$2:$C$4</c:f>
              <c:numCache>
                <c:formatCode>#,##0.0</c:formatCode>
                <c:ptCount val="3"/>
                <c:pt idx="0">
                  <c:v>37.432421731587397</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D$2:$D$4</c:f>
              <c:numCache>
                <c:formatCode>#,##0.0</c:formatCode>
                <c:ptCount val="3"/>
                <c:pt idx="0">
                  <c:v>1.2910958657577045</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E$2:$E$4</c:f>
              <c:numCache>
                <c:formatCode>#,##0.0</c:formatCode>
                <c:ptCount val="3"/>
                <c:pt idx="0">
                  <c:v>6.1574510664948567</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F$2:$F$4</c:f>
              <c:numCache>
                <c:formatCode>#,##0.0</c:formatCode>
                <c:ptCount val="3"/>
                <c:pt idx="0">
                  <c:v>2.8283889916710478</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4.7737397420867529</c:v>
                </c:pt>
                <c:pt idx="1">
                  <c:v>2.0438481970017559</c:v>
                </c:pt>
                <c:pt idx="2">
                  <c:v>3.5483870967741935</c:v>
                </c:pt>
                <c:pt idx="3">
                  <c:v>0.96658381662524162</c:v>
                </c:pt>
                <c:pt idx="4">
                  <c:v>3.5903603723996613</c:v>
                </c:pt>
                <c:pt idx="5">
                  <c:v>4</c:v>
                </c:pt>
                <c:pt idx="6">
                  <c:v>8.1999999999999993</c:v>
                </c:pt>
                <c:pt idx="7">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3.9214612372319739</c:v>
                </c:pt>
                <c:pt idx="1">
                  <c:v>5.7136602451838883</c:v>
                </c:pt>
                <c:pt idx="2">
                  <c:v>9.5700752975467562</c:v>
                </c:pt>
                <c:pt idx="3">
                  <c:v>10.792525773195877</c:v>
                </c:pt>
                <c:pt idx="4">
                  <c:v>12.604387039305202</c:v>
                </c:pt>
                <c:pt idx="5">
                  <c:v>6.2</c:v>
                </c:pt>
                <c:pt idx="6">
                  <c:v>5.7</c:v>
                </c:pt>
                <c:pt idx="7">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19.542999955371091</c:v>
                </c:pt>
                <c:pt idx="1">
                  <c:v>24.857086536566133</c:v>
                </c:pt>
                <c:pt idx="2">
                  <c:v>19.884526558891455</c:v>
                </c:pt>
                <c:pt idx="3">
                  <c:v>31.891223733003709</c:v>
                </c:pt>
                <c:pt idx="4">
                  <c:v>17.406273909716909</c:v>
                </c:pt>
                <c:pt idx="5">
                  <c:v>20.8</c:v>
                </c:pt>
                <c:pt idx="6">
                  <c:v>15.9</c:v>
                </c:pt>
                <c:pt idx="7">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3.8432365589692434</c:v>
                </c:pt>
                <c:pt idx="1">
                  <c:v>4.1270454738697229</c:v>
                </c:pt>
                <c:pt idx="2">
                  <c:v>2.9831273417222288</c:v>
                </c:pt>
                <c:pt idx="3">
                  <c:v>4.2543265545654885</c:v>
                </c:pt>
                <c:pt idx="4">
                  <c:v>7.9551067718985564</c:v>
                </c:pt>
                <c:pt idx="5">
                  <c:v>4.5</c:v>
                </c:pt>
                <c:pt idx="6">
                  <c:v>6.8</c:v>
                </c:pt>
                <c:pt idx="7">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25.325442123316556</c:v>
                </c:pt>
                <c:pt idx="1">
                  <c:v>64.424530339019654</c:v>
                </c:pt>
                <c:pt idx="2">
                  <c:v>45.323304622103606</c:v>
                </c:pt>
                <c:pt idx="3">
                  <c:v>81.69170840289371</c:v>
                </c:pt>
                <c:pt idx="4">
                  <c:v>19.920340169008018</c:v>
                </c:pt>
                <c:pt idx="5">
                  <c:v>32.6</c:v>
                </c:pt>
                <c:pt idx="6">
                  <c:v>20.7</c:v>
                </c:pt>
                <c:pt idx="7">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itt</c:v>
                </c:pt>
                <c:pt idx="1">
                  <c:v>Martin</c:v>
                </c:pt>
                <c:pt idx="2">
                  <c:v>Hertford</c:v>
                </c:pt>
                <c:pt idx="3">
                  <c:v>Bertie</c:v>
                </c:pt>
                <c:pt idx="4">
                  <c:v>Beaufort</c:v>
                </c:pt>
                <c:pt idx="5">
                  <c:v>Mid-East</c:v>
                </c:pt>
                <c:pt idx="6">
                  <c:v>North Carolina</c:v>
                </c:pt>
                <c:pt idx="7">
                  <c:v>United States</c:v>
                </c:pt>
              </c:strCache>
            </c:strRef>
          </c:cat>
          <c:val>
            <c:numRef>
              <c:f>Sheet1!$B$2:$B$9</c:f>
              <c:numCache>
                <c:formatCode>0.0</c:formatCode>
                <c:ptCount val="8"/>
                <c:pt idx="0">
                  <c:v>23.357325610819018</c:v>
                </c:pt>
                <c:pt idx="1">
                  <c:v>100</c:v>
                </c:pt>
                <c:pt idx="2">
                  <c:v>100</c:v>
                </c:pt>
                <c:pt idx="3">
                  <c:v>100</c:v>
                </c:pt>
                <c:pt idx="4">
                  <c:v>93.471123311265401</c:v>
                </c:pt>
                <c:pt idx="5">
                  <c:v>12.7</c:v>
                </c:pt>
                <c:pt idx="6">
                  <c:v>29.7</c:v>
                </c:pt>
                <c:pt idx="7">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B$2:$B$4</c:f>
              <c:numCache>
                <c:formatCode>0.00</c:formatCode>
                <c:ptCount val="3"/>
                <c:pt idx="0">
                  <c:v>3.9456284717007351</c:v>
                </c:pt>
                <c:pt idx="1">
                  <c:v>4.4296238962062287</c:v>
                </c:pt>
                <c:pt idx="2">
                  <c:v>1.5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B$2:$B$4</c:f>
              <c:numCache>
                <c:formatCode>0.0</c:formatCode>
                <c:ptCount val="3"/>
                <c:pt idx="0">
                  <c:v>9.6993852410295798</c:v>
                </c:pt>
                <c:pt idx="1">
                  <c:v>10.285900434333007</c:v>
                </c:pt>
                <c:pt idx="2" formatCode="#,##0.0">
                  <c:v>7</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C$2:$C$4</c:f>
              <c:numCache>
                <c:formatCode>0.0</c:formatCode>
                <c:ptCount val="3"/>
                <c:pt idx="0">
                  <c:v>9.5092908053327836</c:v>
                </c:pt>
                <c:pt idx="1">
                  <c:v>10.158199176779275</c:v>
                </c:pt>
                <c:pt idx="2" formatCode="#,##0.0">
                  <c:v>6.8</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B$2:$B$4</c:f>
              <c:numCache>
                <c:formatCode>0.0</c:formatCode>
                <c:ptCount val="3"/>
                <c:pt idx="0">
                  <c:v>35.163543124718231</c:v>
                </c:pt>
                <c:pt idx="1">
                  <c:v>32.670704756158578</c:v>
                </c:pt>
                <c:pt idx="2">
                  <c:v>31.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C$2:$C$4</c:f>
              <c:numCache>
                <c:formatCode>0.0</c:formatCode>
                <c:ptCount val="3"/>
                <c:pt idx="0">
                  <c:v>9.5092908053327836</c:v>
                </c:pt>
                <c:pt idx="1">
                  <c:v>10.158199176779275</c:v>
                </c:pt>
                <c:pt idx="2">
                  <c:v>6.8</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B$2:$B$4</c:f>
              <c:numCache>
                <c:formatCode>0.0</c:formatCode>
                <c:ptCount val="3"/>
                <c:pt idx="0">
                  <c:v>3.4315339366940902</c:v>
                </c:pt>
                <c:pt idx="1">
                  <c:v>3.1906212529243381</c:v>
                </c:pt>
                <c:pt idx="2" formatCode="#,##0.0">
                  <c:v>1.100000000000000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B$2:$B$4</c:f>
              <c:numCache>
                <c:formatCode>#,##0.0</c:formatCode>
                <c:ptCount val="3"/>
                <c:pt idx="0">
                  <c:v>20.67049160265778</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C$2:$C$4</c:f>
              <c:numCache>
                <c:formatCode>#,##0.0</c:formatCode>
                <c:ptCount val="3"/>
                <c:pt idx="0">
                  <c:v>13.734855629062794</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D$2:$D$4</c:f>
              <c:numCache>
                <c:formatCode>#,##0.0</c:formatCode>
                <c:ptCount val="3"/>
                <c:pt idx="0">
                  <c:v>35.54526934124236</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E$2:$E$4</c:f>
              <c:numCache>
                <c:formatCode>#,##0.0</c:formatCode>
                <c:ptCount val="3"/>
                <c:pt idx="0">
                  <c:v>12.990504848358325</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d-East</c:v>
                </c:pt>
                <c:pt idx="1">
                  <c:v>North Carolina</c:v>
                </c:pt>
                <c:pt idx="2">
                  <c:v>United States</c:v>
                </c:pt>
              </c:strCache>
            </c:strRef>
          </c:cat>
          <c:val>
            <c:numRef>
              <c:f>Sheet1!$F$2:$F$4</c:f>
              <c:numCache>
                <c:formatCode>#,##0.0</c:formatCode>
                <c:ptCount val="3"/>
                <c:pt idx="0">
                  <c:v>17.05887857867874</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B$2:$B$4</c:f>
              <c:numCache>
                <c:formatCode>0.0</c:formatCode>
                <c:ptCount val="3"/>
                <c:pt idx="0">
                  <c:v>28.70828963274613</c:v>
                </c:pt>
                <c:pt idx="1">
                  <c:v>28.399462765329204</c:v>
                </c:pt>
                <c:pt idx="2">
                  <c:v>29.28207220116199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C$2:$C$4</c:f>
              <c:numCache>
                <c:formatCode>0.0</c:formatCode>
                <c:ptCount val="3"/>
                <c:pt idx="0">
                  <c:v>41.555902088108759</c:v>
                </c:pt>
                <c:pt idx="1">
                  <c:v>42.725477774104526</c:v>
                </c:pt>
                <c:pt idx="2">
                  <c:v>45.937316693430056</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Mid-East</c:v>
                </c:pt>
              </c:strCache>
            </c:strRef>
          </c:cat>
          <c:val>
            <c:numRef>
              <c:f>Sheet1!$D$2:$D$4</c:f>
              <c:numCache>
                <c:formatCode>0.0</c:formatCode>
                <c:ptCount val="3"/>
                <c:pt idx="0">
                  <c:v>29.735808279145072</c:v>
                </c:pt>
                <c:pt idx="1">
                  <c:v>28.875059460566249</c:v>
                </c:pt>
                <c:pt idx="2">
                  <c:v>24.780611105407946</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rth Carolina</c:v>
                </c:pt>
                <c:pt idx="1">
                  <c:v>Mid-East</c:v>
                </c:pt>
                <c:pt idx="2">
                  <c:v>United States</c:v>
                </c:pt>
              </c:strCache>
            </c:strRef>
          </c:cat>
          <c:val>
            <c:numRef>
              <c:f>Sheet1!$B$2:$B$4</c:f>
              <c:numCache>
                <c:formatCode>#,##0.0</c:formatCode>
                <c:ptCount val="3"/>
                <c:pt idx="0">
                  <c:v>10.962591300115909</c:v>
                </c:pt>
                <c:pt idx="1">
                  <c:v>12.385384028665653</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rth Carolina</c:v>
                </c:pt>
                <c:pt idx="1">
                  <c:v>Mid-East</c:v>
                </c:pt>
                <c:pt idx="2">
                  <c:v>United States</c:v>
                </c:pt>
              </c:strCache>
            </c:strRef>
          </c:cat>
          <c:val>
            <c:numRef>
              <c:f>Sheet1!$C$2:$C$4</c:f>
              <c:numCache>
                <c:formatCode>#,##0.0</c:formatCode>
                <c:ptCount val="3"/>
                <c:pt idx="0">
                  <c:v>25.231126134035375</c:v>
                </c:pt>
                <c:pt idx="1">
                  <c:v>28.565784491793742</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rth Carolina</c:v>
                </c:pt>
                <c:pt idx="1">
                  <c:v>Mid-East</c:v>
                </c:pt>
                <c:pt idx="2">
                  <c:v>United States</c:v>
                </c:pt>
              </c:strCache>
            </c:strRef>
          </c:cat>
          <c:val>
            <c:numRef>
              <c:f>Sheet1!$D$2:$D$4</c:f>
              <c:numCache>
                <c:formatCode>#,##0.0</c:formatCode>
                <c:ptCount val="3"/>
                <c:pt idx="0">
                  <c:v>30.789995477690791</c:v>
                </c:pt>
                <c:pt idx="1">
                  <c:v>32.90733597089536</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rth Carolina</c:v>
                </c:pt>
                <c:pt idx="1">
                  <c:v>Mid-East</c:v>
                </c:pt>
                <c:pt idx="2">
                  <c:v>United States</c:v>
                </c:pt>
              </c:strCache>
            </c:strRef>
          </c:cat>
          <c:val>
            <c:numRef>
              <c:f>Sheet1!$E$2:$E$4</c:f>
              <c:numCache>
                <c:formatCode>#,##0.0</c:formatCode>
                <c:ptCount val="3"/>
                <c:pt idx="0">
                  <c:v>33.016287088157931</c:v>
                </c:pt>
                <c:pt idx="1">
                  <c:v>26.141495508645242</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E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9.1984794131819889</c:v>
                </c:pt>
                <c:pt idx="1">
                  <c:v>7.5655485571993557</c:v>
                </c:pt>
                <c:pt idx="2">
                  <c:v>10.81897186625423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E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8.4</c:v>
                </c:pt>
                <c:pt idx="1">
                  <c:v>9.1</c:v>
                </c:pt>
                <c:pt idx="2">
                  <c:v>18.5</c:v>
                </c:pt>
                <c:pt idx="3">
                  <c:v>9.300000000000000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E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4.5</c:v>
                </c:pt>
                <c:pt idx="1">
                  <c:v>10.9</c:v>
                </c:pt>
                <c:pt idx="2">
                  <c:v>6.7</c:v>
                </c:pt>
                <c:pt idx="3">
                  <c:v>7.1</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E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4.109429569266595</c:v>
                </c:pt>
                <c:pt idx="1">
                  <c:v>38.435150718925627</c:v>
                </c:pt>
                <c:pt idx="2">
                  <c:v>27.990797546012271</c:v>
                </c:pt>
                <c:pt idx="3">
                  <c:v>19.294692321439207</c:v>
                </c:pt>
                <c:pt idx="4">
                  <c:v>11.910475792988313</c:v>
                </c:pt>
                <c:pt idx="5" formatCode="0.0">
                  <c:v>7.312220195655778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Mid-Eas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6.7</c:v>
                </c:pt>
                <c:pt idx="1">
                  <c:v>15.7</c:v>
                </c:pt>
                <c:pt idx="2">
                  <c:v>15.7</c:v>
                </c:pt>
                <c:pt idx="3">
                  <c:v>10.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id-East Commission</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43442383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70157002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ACE4D62-196F-A615-59EB-291A7142E4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3327" y="1028700"/>
            <a:ext cx="7589145" cy="5366718"/>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B339876-341F-790C-BE75-F1E31A2A8E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8780" y="1028700"/>
            <a:ext cx="7594439" cy="5370462"/>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DB4F051A-9B70-B730-2642-966C496E35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32644969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525C02B9-4D86-DE25-3429-FF01BD8E8E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71982098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FF4602A0-2D1D-4AA7-AD4F-14D511613A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3723270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descr="Map&#10;&#10;Description automatically generated">
            <a:extLst>
              <a:ext uri="{FF2B5EF4-FFF2-40B4-BE49-F238E27FC236}">
                <a16:creationId xmlns:a16="http://schemas.microsoft.com/office/drawing/2014/main" id="{FD1333ED-1131-3861-958C-4C42B9D3BC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
        <p:nvSpPr>
          <p:cNvPr id="5" name="TextBox 4">
            <a:extLst>
              <a:ext uri="{FF2B5EF4-FFF2-40B4-BE49-F238E27FC236}">
                <a16:creationId xmlns:a16="http://schemas.microsoft.com/office/drawing/2014/main" id="{6BE4F685-E9DC-E231-5AF4-296D3C11476B}"/>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6583948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FB27A213-C0B7-6BD5-7FED-23D21C6A08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2604854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94976C04-A24B-F3C5-B9C0-27F15B00E5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418749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033B3FE1-9C3F-6EF0-C136-37EF9E1F1D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45983355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D815B327-B2B1-C919-C7A3-309DB3D75C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68103783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904E4106-2EEF-7FB4-8C31-15755E7953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4572" y="1158597"/>
            <a:ext cx="7228828" cy="511191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0352675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70680D7-D741-1B4E-D3AF-14882434BB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9155806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9B8342A-9624-20BF-BA75-F4D3E782C1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76087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331580CE-AA9E-AFEC-4861-10F13955BF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4646694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E4C90AF-5FA5-4B57-6616-1799974E20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8044272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72E2CDE-182F-1AA1-C01B-EDD0B9EE36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5753538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38E0CDF2-020F-11EC-D7C3-3DA547AAEA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5847767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D6D3637F-15B1-7D14-C40B-AA2B5BBEAE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417230011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3597401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156AEE47-CC26-3634-78D8-8C16081704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25234101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4542019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595550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2" y="312481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4.6</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75338" y="47723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36639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366396"/>
            <a:ext cx="0" cy="7517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11131066" y="4017365"/>
            <a:ext cx="1109" cy="74826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1170879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86697356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18079635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2404131124"/>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55024015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5472696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20085475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81179396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59</TotalTime>
  <Words>1474</Words>
  <Application>Microsoft Office PowerPoint</Application>
  <PresentationFormat>Widescreen</PresentationFormat>
  <Paragraphs>141</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1:01:19Z</dcterms:modified>
</cp:coreProperties>
</file>